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31D826-15AC-0AE9-5FA4-C7C4BD4D07A9}" v="12" dt="2025-05-30T11:29:27.479"/>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6/11/relationships/changesInfo" Target="changesInfos/changesInfo1.xml"/><Relationship Id="rId16"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Husnain Ali" userId="S::husnain.ali@digifloat.com::2502f0f4-e1d9-4b51-9632-c038384256f5" providerId="AD" clId="Web-{4331D826-15AC-0AE9-5FA4-C7C4BD4D07A9}"/>
    <pc:docChg chg="modSld">
      <pc:chgData name="Husnain Ali" userId="S::husnain.ali@digifloat.com::2502f0f4-e1d9-4b51-9632-c038384256f5" providerId="AD" clId="Web-{4331D826-15AC-0AE9-5FA4-C7C4BD4D07A9}" dt="2025-05-30T11:29:27.479" v="11"/>
      <pc:docMkLst>
        <pc:docMk/>
      </pc:docMkLst>
      <pc:sldChg chg="modSp">
        <pc:chgData name="Husnain Ali" userId="S::husnain.ali@digifloat.com::2502f0f4-e1d9-4b51-9632-c038384256f5" providerId="AD" clId="Web-{4331D826-15AC-0AE9-5FA4-C7C4BD4D07A9}" dt="2025-05-30T11:29:27.479" v="11"/>
        <pc:sldMkLst>
          <pc:docMk/>
          <pc:sldMk cId="4014685245" sldId="2147481231"/>
        </pc:sldMkLst>
        <pc:graphicFrameChg chg="mod modGraphic">
          <ac:chgData name="Husnain Ali" userId="S::husnain.ali@digifloat.com::2502f0f4-e1d9-4b51-9632-c038384256f5" providerId="AD" clId="Web-{4331D826-15AC-0AE9-5FA4-C7C4BD4D07A9}" dt="2025-05-30T11:29:27.479" v="11"/>
          <ac:graphicFrameMkLst>
            <pc:docMk/>
            <pc:sldMk cId="4014685245" sldId="2147481231"/>
            <ac:graphicFrameMk id="8" creationId="{05550516-049F-AE40-7162-5F639A7E12F0}"/>
          </ac:graphicFrameMkLst>
        </pc:graphicFrameChg>
      </pc:sldChg>
      <pc:sldChg chg="modSp">
        <pc:chgData name="Husnain Ali" userId="S::husnain.ali@digifloat.com::2502f0f4-e1d9-4b51-9632-c038384256f5" providerId="AD" clId="Web-{4331D826-15AC-0AE9-5FA4-C7C4BD4D07A9}" dt="2025-05-30T11:29:21.245" v="10"/>
        <pc:sldMkLst>
          <pc:docMk/>
          <pc:sldMk cId="1221362229" sldId="2147481232"/>
        </pc:sldMkLst>
        <pc:spChg chg="mod">
          <ac:chgData name="Husnain Ali" userId="S::husnain.ali@digifloat.com::2502f0f4-e1d9-4b51-9632-c038384256f5" providerId="AD" clId="Web-{4331D826-15AC-0AE9-5FA4-C7C4BD4D07A9}" dt="2025-05-30T11:16:38.593" v="8" actId="1076"/>
          <ac:spMkLst>
            <pc:docMk/>
            <pc:sldMk cId="1221362229" sldId="2147481232"/>
            <ac:spMk id="9" creationId="{E07FB20F-B7EB-7F47-A2C4-823C70A22D71}"/>
          </ac:spMkLst>
        </pc:spChg>
        <pc:graphicFrameChg chg="modGraphic">
          <ac:chgData name="Husnain Ali" userId="S::husnain.ali@digifloat.com::2502f0f4-e1d9-4b51-9632-c038384256f5" providerId="AD" clId="Web-{4331D826-15AC-0AE9-5FA4-C7C4BD4D07A9}" dt="2025-05-30T11:29:21.245" v="10"/>
          <ac:graphicFrameMkLst>
            <pc:docMk/>
            <pc:sldMk cId="1221362229" sldId="2147481232"/>
            <ac:graphicFrameMk id="2" creationId="{12BB7CC7-694F-AA0D-50D2-D7EA361BF462}"/>
          </ac:graphicFrameMkLst>
        </pc:graphicFrameChg>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30/05/2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30/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2.xml"/><Relationship Id="rId11" Type="http://schemas.openxmlformats.org/officeDocument/2006/relationships/oleObject" Target="../embeddings/oleObject1.bin"/><Relationship Id="rId1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8.xml"/><Relationship Id="rId3" Type="http://schemas.openxmlformats.org/officeDocument/2006/relationships/oleObject" Target="../embeddings/oleObject3.bin"/><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5.xml"/><Relationship Id="rId3" Type="http://schemas.openxmlformats.org/officeDocument/2006/relationships/notesSlide" Target="../notesSlides/notesSlide1.xml"/><Relationship Id="rId4" Type="http://schemas.openxmlformats.org/officeDocument/2006/relationships/oleObject" Target="../embeddings/oleObject4.bin"/><Relationship Id="rId5" Type="http://schemas.openxmlformats.org/officeDocument/2006/relationships/image" Target="../media/image9.emf"/><Relationship Id="rId6" Type="http://schemas.openxmlformats.org/officeDocument/2006/relationships/chart" Target="../charts/chart1.xml"/><Relationship Id="rId7"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5.xml"/><Relationship Id="rId3" Type="http://schemas.openxmlformats.org/officeDocument/2006/relationships/notesSlide" Target="../notesSlides/notesSlide2.xml"/><Relationship Id="rId4" Type="http://schemas.openxmlformats.org/officeDocument/2006/relationships/oleObject" Target="../embeddings/oleObject5.bin"/><Relationship Id="rId5"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764097518"/>
              </p:ext>
            </p:extLst>
          </p:nvPr>
        </p:nvGraphicFramePr>
        <p:xfrm>
          <a:off x="360947" y="1554078"/>
          <a:ext cx="4696776" cy="2375218"/>
        </p:xfrm>
        <a:graphic>
          <a:graphicData uri="http://schemas.openxmlformats.org/drawingml/2006/table">
            <a:tbl>
              <a:tblPr firstRow="1" bandRow="1">
                <a:tableStyleId>{72833802-FEF1-4C79-8D5D-14CF1EAF98D9}</a:tableStyleId>
              </a:tblPr>
              <a:tblGrid>
                <a:gridCol w="2558715">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a:lnSpc>
                          <a:spcPct val="100000"/>
                        </a:lnSpc>
                        <a:spcBef>
                          <a:spcPts val="0"/>
                        </a:spcBef>
                        <a:spcAft>
                          <a:spcPts val="0"/>
                        </a:spcAft>
                        <a:buClrTx/>
                        <a:buSzTx/>
                        <a:buFontTx/>
                        <a:buNone/>
                      </a:pPr>
                      <a:r>
                        <a:rPr lang="en-US" sz="1500" b="0" i="0" u="none" strike="noStrike" kern="0" cap="none" spc="0" normalizeH="0" baseline="0" noProof="0" dirty="0">
                          <a:ln>
                            <a:noFill/>
                          </a:ln>
                          <a:solidFill>
                            <a:srgbClr val="000000"/>
                          </a:solidFill>
                          <a:effectLst/>
                          <a:uLnTx/>
                          <a:uFillTx/>
                          <a:latin typeface="Calibri"/>
                          <a:ea typeface="+mn-ea"/>
                          <a:cs typeface="Calibri"/>
                        </a:rPr>
                        <a:t>ELMEC</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strike="noStrike" kern="0" cap="none" spc="0" normalizeH="0" baseline="0" noProof="0" dirty="0">
                          <a:ln>
                            <a:noFill/>
                          </a:ln>
                          <a:solidFill>
                            <a:srgbClr val="000000"/>
                          </a:solidFill>
                          <a:effectLst/>
                          <a:uLnTx/>
                          <a:uFillTx/>
                          <a:latin typeface="Calibri"/>
                          <a:ea typeface="+mn-ea"/>
                          <a:cs typeface="Calibri"/>
                        </a:rPr>
                        <a:t>TRACTEBEL</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kern="1200" dirty="0">
                          <a:solidFill>
                            <a:srgbClr val="000000"/>
                          </a:solidFill>
                          <a:latin typeface="Calibri"/>
                          <a:ea typeface="+mn-ea"/>
                          <a:cs typeface="Calibri"/>
                        </a:rPr>
                        <a:t>24.04.202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500" b="0" i="0" u="none" strike="noStrike" kern="1200" cap="none" spc="0" normalizeH="0" baseline="0" noProof="0" dirty="0">
                          <a:ln>
                            <a:noFill/>
                          </a:ln>
                          <a:solidFill>
                            <a:srgbClr val="000000"/>
                          </a:solidFill>
                          <a:effectLst/>
                          <a:uLnTx/>
                          <a:uFillTx/>
                          <a:latin typeface="Calibri"/>
                          <a:ea typeface="+mn-ea"/>
                          <a:cs typeface="Calibri"/>
                        </a:rPr>
                        <a:t>AED 220,500,000.00</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600">
                          <a:latin typeface="Arial"/>
                        </a:rPr>
                        <a:t>2025-08-31</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647991993"/>
              </p:ext>
            </p:extLst>
          </p:nvPr>
        </p:nvGraphicFramePr>
        <p:xfrm>
          <a:off x="678658" y="2203523"/>
          <a:ext cx="10729042" cy="3939746"/>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31562">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631562">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9.0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4.05.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9.07.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04.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04.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2.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56377">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5.07.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5.03.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9.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1.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2.10.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5.07.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8.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6.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8.02.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8.02.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7.11.2024</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2.08.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1339">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0.02.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7.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4.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0.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5.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30.08.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26302">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0.03.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08.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13.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9.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04.06.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r>
                        <a:rPr sz="1100">
                          <a:solidFill>
                            <a:srgbClr val="FF0000"/>
                          </a:solidFill>
                          <a:latin typeface="Arial"/>
                        </a:rPr>
                        <a:t>20.09.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99917" y="346429"/>
            <a:ext cx="11286561" cy="446627"/>
          </a:xfrm>
          <a:prstGeom prst="rect">
            <a:avLst/>
          </a:prstGeom>
        </p:spPr>
        <p:txBody>
          <a:bodyPr vert="horz" lIns="91440" tIns="45720" rIns="91440" bIns="45720" anchor="t"/>
          <a:lstStyle/>
          <a:p>
            <a:r>
              <a:rPr lang="en-US" sz="2200" b="1" dirty="0">
                <a:highlight>
                  <a:srgbClr val="FFFF00"/>
                </a:highlight>
              </a:rPr>
              <a:t>N-17720 – New 132/33kV KIZAD Substation and Related 132kv Cable Works</a:t>
            </a:r>
            <a:endParaRPr lang="en-US" sz="2200">
              <a:highlight>
                <a:srgbClr val="00FF00"/>
              </a:highlight>
              <a:cs typeface="Arial"/>
            </a:endParaRPr>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FBD9D875B949E4CA811914009E0C294" ma:contentTypeVersion="3" ma:contentTypeDescription="Create a new document." ma:contentTypeScope="" ma:versionID="e6fb136b586778e3156891d90f67dc33">
  <xsd:schema xmlns:xsd="http://www.w3.org/2001/XMLSchema" xmlns:xs="http://www.w3.org/2001/XMLSchema" xmlns:p="http://schemas.microsoft.com/office/2006/metadata/properties" xmlns:ns2="47fee4ea-d4f5-43ab-b0d5-b121101f483f" targetNamespace="http://schemas.microsoft.com/office/2006/metadata/properties" ma:root="true" ma:fieldsID="1cbdcdae3fc1d5a13fd7976a550fdd4d" ns2:_="">
    <xsd:import namespace="47fee4ea-d4f5-43ab-b0d5-b121101f483f"/>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fee4ea-d4f5-43ab-b0d5-b121101f48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DED299C8-6DC8-4CDA-9A80-3F466BCA87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fee4ea-d4f5-43ab-b0d5-b121101f48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TotalTime>
  <Words>389</Words>
  <Application>Microsoft Office PowerPoint</Application>
  <PresentationFormat>Widescreen</PresentationFormat>
  <Paragraphs>143</Paragraphs>
  <Slides>3</Slides>
  <Notes>2</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1_Office Them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Abdulfatah AlHajeri</cp:lastModifiedBy>
  <cp:revision>14</cp:revision>
  <dcterms:created xsi:type="dcterms:W3CDTF">2025-02-03T13:58:16Z</dcterms:created>
  <dcterms:modified xsi:type="dcterms:W3CDTF">2025-05-30T11: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BD9D875B949E4CA811914009E0C294</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